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56" r:id="rId1"/>
  </p:sldMasterIdLst>
  <p:notesMasterIdLst>
    <p:notesMasterId r:id="rId3"/>
  </p:notesMasterIdLst>
  <p:handoutMasterIdLst>
    <p:handoutMasterId r:id="rId4"/>
  </p:handoutMasterIdLst>
  <p:sldIdLst>
    <p:sldId id="1161" r:id="rId2"/>
  </p:sldIdLst>
  <p:sldSz cx="6858000" cy="9906000" type="A4"/>
  <p:notesSz cx="6669088" cy="9928225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7">
          <p15:clr>
            <a:srgbClr val="A4A3A4"/>
          </p15:clr>
        </p15:guide>
        <p15:guide id="2" orient="horz" pos="4407">
          <p15:clr>
            <a:srgbClr val="A4A3A4"/>
          </p15:clr>
        </p15:guide>
        <p15:guide id="3" pos="4253">
          <p15:clr>
            <a:srgbClr val="A4A3A4"/>
          </p15:clr>
        </p15:guide>
        <p15:guide id="4" pos="7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FA9"/>
    <a:srgbClr val="FFFFFF"/>
    <a:srgbClr val="EBBFAD"/>
    <a:srgbClr val="FFB64B"/>
    <a:srgbClr val="4D4D4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16" autoAdjust="0"/>
    <p:restoredTop sz="92518" autoAdjust="0"/>
  </p:normalViewPr>
  <p:slideViewPr>
    <p:cSldViewPr snapToGrid="0">
      <p:cViewPr varScale="1">
        <p:scale>
          <a:sx n="92" d="100"/>
          <a:sy n="92" d="100"/>
        </p:scale>
        <p:origin x="2970" y="96"/>
      </p:cViewPr>
      <p:guideLst>
        <p:guide orient="horz" pos="987"/>
        <p:guide orient="horz" pos="4407"/>
        <p:guide pos="4253"/>
        <p:guide pos="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77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A44F86F1-CC0E-48DE-B074-D8B61F6DD6FE}" type="datetimeFigureOut">
              <a:rPr lang="ru-RU"/>
              <a:pPr>
                <a:defRPr/>
              </a:pPr>
              <a:t>19.08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77825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20F2C0EC-1B89-447D-82F3-B43A2A1CB16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F67BD763-7A90-4A72-B35A-F123B31264FD}" type="datetimeFigureOut">
              <a:rPr lang="en-US"/>
              <a:pPr>
                <a:defRPr/>
              </a:pPr>
              <a:t>8/1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046288" y="744538"/>
            <a:ext cx="257651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nl-NL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750" y="4716463"/>
            <a:ext cx="5335588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8250" y="942975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FEC57D05-214E-48B1-84B5-0A008CD4651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81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2046288" y="742950"/>
            <a:ext cx="2576512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281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7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image" Target="../media/image6.png"/><Relationship Id="rId5" Type="http://schemas.openxmlformats.org/officeDocument/2006/relationships/tags" Target="../tags/tag13.xml"/><Relationship Id="rId10" Type="http://schemas.openxmlformats.org/officeDocument/2006/relationships/image" Target="../media/image5.emf"/><Relationship Id="rId4" Type="http://schemas.openxmlformats.org/officeDocument/2006/relationships/tags" Target="../tags/tag12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image" Target="../media/image4.jpeg"/><Relationship Id="rId2" Type="http://schemas.openxmlformats.org/officeDocument/2006/relationships/tags" Target="../tags/tag49.xml"/><Relationship Id="rId1" Type="http://schemas.openxmlformats.org/officeDocument/2006/relationships/vmlDrawing" Target="../drawings/vmlDrawing11.vml"/><Relationship Id="rId6" Type="http://schemas.openxmlformats.org/officeDocument/2006/relationships/tags" Target="../tags/tag53.xml"/><Relationship Id="rId11" Type="http://schemas.openxmlformats.org/officeDocument/2006/relationships/image" Target="../media/image3.emf"/><Relationship Id="rId5" Type="http://schemas.openxmlformats.org/officeDocument/2006/relationships/tags" Target="../tags/tag52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51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8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oleObject" Target="../embeddings/oleObject17.bin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image" Target="../media/image4.jpeg"/><Relationship Id="rId2" Type="http://schemas.openxmlformats.org/officeDocument/2006/relationships/tags" Target="../tags/tag56.xml"/><Relationship Id="rId1" Type="http://schemas.openxmlformats.org/officeDocument/2006/relationships/vmlDrawing" Target="../drawings/vmlDrawing12.vml"/><Relationship Id="rId6" Type="http://schemas.openxmlformats.org/officeDocument/2006/relationships/tags" Target="../tags/tag60.xml"/><Relationship Id="rId11" Type="http://schemas.openxmlformats.org/officeDocument/2006/relationships/image" Target="../media/image3.emf"/><Relationship Id="rId5" Type="http://schemas.openxmlformats.org/officeDocument/2006/relationships/tags" Target="../tags/tag59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8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image" Target="../media/image4.jpeg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image" Target="../media/image3.emf"/><Relationship Id="rId2" Type="http://schemas.openxmlformats.org/officeDocument/2006/relationships/tags" Target="../tags/tag6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7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66.xml"/><Relationship Id="rId15" Type="http://schemas.openxmlformats.org/officeDocument/2006/relationships/image" Target="../media/image8.emf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oleObject" Target="../embeddings/oleObject19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image" Target="../media/image4.jpeg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image" Target="../media/image3.emf"/><Relationship Id="rId2" Type="http://schemas.openxmlformats.org/officeDocument/2006/relationships/tags" Target="../tags/tag71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14.vml"/><Relationship Id="rId6" Type="http://schemas.openxmlformats.org/officeDocument/2006/relationships/tags" Target="../tags/tag75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74.xml"/><Relationship Id="rId15" Type="http://schemas.openxmlformats.org/officeDocument/2006/relationships/image" Target="../media/image10.emf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0.xml"/><Relationship Id="rId7" Type="http://schemas.openxmlformats.org/officeDocument/2006/relationships/oleObject" Target="../embeddings/oleObject6.bin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10" Type="http://schemas.openxmlformats.org/officeDocument/2006/relationships/image" Target="../media/image7.jpeg"/><Relationship Id="rId4" Type="http://schemas.openxmlformats.org/officeDocument/2006/relationships/tags" Target="../tags/tag21.xml"/><Relationship Id="rId9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6" Type="http://schemas.openxmlformats.org/officeDocument/2006/relationships/tags" Target="../tags/tag27.xml"/><Relationship Id="rId11" Type="http://schemas.openxmlformats.org/officeDocument/2006/relationships/image" Target="../media/image7.jpeg"/><Relationship Id="rId5" Type="http://schemas.openxmlformats.org/officeDocument/2006/relationships/tags" Target="../tags/tag26.xml"/><Relationship Id="rId10" Type="http://schemas.openxmlformats.org/officeDocument/2006/relationships/image" Target="../media/image6.png"/><Relationship Id="rId4" Type="http://schemas.openxmlformats.org/officeDocument/2006/relationships/tags" Target="../tags/tag25.xml"/><Relationship Id="rId9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oleObject" Target="../embeddings/oleObject9.bin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image" Target="../media/image4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tags" Target="../tags/tag32.xml"/><Relationship Id="rId11" Type="http://schemas.openxmlformats.org/officeDocument/2006/relationships/image" Target="../media/image3.emf"/><Relationship Id="rId5" Type="http://schemas.openxmlformats.org/officeDocument/2006/relationships/tags" Target="../tags/tag31.xml"/><Relationship Id="rId10" Type="http://schemas.openxmlformats.org/officeDocument/2006/relationships/oleObject" Target="../embeddings/oleObject8.bin"/><Relationship Id="rId4" Type="http://schemas.openxmlformats.org/officeDocument/2006/relationships/tags" Target="../tags/tag30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4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9.vml"/><Relationship Id="rId6" Type="http://schemas.openxmlformats.org/officeDocument/2006/relationships/tags" Target="../tags/tag39.xml"/><Relationship Id="rId11" Type="http://schemas.openxmlformats.org/officeDocument/2006/relationships/image" Target="../media/image3.emf"/><Relationship Id="rId5" Type="http://schemas.openxmlformats.org/officeDocument/2006/relationships/tags" Target="../tags/tag38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37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8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oleObject" Target="../embeddings/oleObject13.bin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image" Target="../media/image4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10.vml"/><Relationship Id="rId6" Type="http://schemas.openxmlformats.org/officeDocument/2006/relationships/tags" Target="../tags/tag46.xml"/><Relationship Id="rId11" Type="http://schemas.openxmlformats.org/officeDocument/2006/relationships/image" Target="../media/image3.emf"/><Relationship Id="rId5" Type="http://schemas.openxmlformats.org/officeDocument/2006/relationships/tags" Target="../tags/tag45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44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9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0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5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utoShape 10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 rot="18012657" flipH="1" flipV="1">
            <a:off x="2316163" y="5837238"/>
            <a:ext cx="3178175" cy="1724025"/>
          </a:xfrm>
          <a:prstGeom prst="pentagon">
            <a:avLst/>
          </a:prstGeom>
          <a:noFill/>
          <a:ln w="12700" cap="flat" cmpd="sng" algn="ctr">
            <a:solidFill>
              <a:schemeClr val="bg1"/>
            </a:solidFill>
            <a:prstDash val="solid"/>
            <a:headEnd/>
            <a:tailEnd/>
          </a:ln>
          <a:effectLst/>
        </p:spPr>
        <p:txBody>
          <a:bodyPr rot="10800000" vert="eaVert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4" name="Группа 2"/>
          <p:cNvGrpSpPr>
            <a:grpSpLocks/>
          </p:cNvGrpSpPr>
          <p:nvPr userDrawn="1">
            <p:custDataLst>
              <p:tags r:id="rId4"/>
            </p:custDataLst>
          </p:nvPr>
        </p:nvGrpSpPr>
        <p:grpSpPr bwMode="auto">
          <a:xfrm>
            <a:off x="-112713" y="0"/>
            <a:ext cx="6970713" cy="9906000"/>
            <a:chOff x="-151313" y="0"/>
            <a:chExt cx="9295313" cy="6858000"/>
          </a:xfrm>
        </p:grpSpPr>
        <p:grpSp>
          <p:nvGrpSpPr>
            <p:cNvPr id="5" name="Группа 1"/>
            <p:cNvGrpSpPr>
              <a:grpSpLocks/>
            </p:cNvGrpSpPr>
            <p:nvPr userDrawn="1"/>
          </p:nvGrpSpPr>
          <p:grpSpPr bwMode="auto">
            <a:xfrm>
              <a:off x="-1012" y="0"/>
              <a:ext cx="9145012" cy="6858000"/>
              <a:chOff x="-1012" y="0"/>
              <a:chExt cx="9145012" cy="6858000"/>
            </a:xfrm>
          </p:grpSpPr>
          <p:sp>
            <p:nvSpPr>
              <p:cNvPr id="12" name="Rectangle 14"/>
              <p:cNvSpPr/>
              <p:nvPr userDrawn="1"/>
            </p:nvSpPr>
            <p:spPr bwMode="white">
              <a:xfrm>
                <a:off x="3104482" y="3454278"/>
                <a:ext cx="6039518" cy="34037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white"/>
                  </a:solidFill>
                </a:endParaRP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Прямоугольник 7"/>
              <p:cNvSpPr/>
              <p:nvPr userDrawn="1"/>
            </p:nvSpPr>
            <p:spPr>
              <a:xfrm>
                <a:off x="-1012" y="5214938"/>
                <a:ext cx="3105494" cy="1643062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white"/>
                  </a:solidFill>
                </a:endParaRP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Прямоугольник 7"/>
              <p:cNvSpPr/>
              <p:nvPr userDrawn="1"/>
            </p:nvSpPr>
            <p:spPr>
              <a:xfrm>
                <a:off x="3104482" y="0"/>
                <a:ext cx="6039518" cy="3429000"/>
              </a:xfrm>
              <a:prstGeom prst="rect">
                <a:avLst/>
              </a:prstGeom>
              <a:solidFill>
                <a:srgbClr val="FFDD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prstClr val="white"/>
                  </a:solidFill>
                </a:endParaRP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Rectangle 15"/>
              <p:cNvSpPr/>
              <p:nvPr userDrawn="1"/>
            </p:nvSpPr>
            <p:spPr>
              <a:xfrm>
                <a:off x="-1012" y="0"/>
                <a:ext cx="3105494" cy="5214938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6" name="AutoShape 5"/>
            <p:cNvSpPr>
              <a:spLocks noChangeArrowheads="1"/>
            </p:cNvSpPr>
            <p:nvPr userDrawn="1"/>
          </p:nvSpPr>
          <p:spPr bwMode="white">
            <a:xfrm rot="18071188">
              <a:off x="-96681" y="1082630"/>
              <a:ext cx="2200275" cy="2296838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vert="eaVert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" name="AutoShape 6"/>
            <p:cNvSpPr>
              <a:spLocks noChangeArrowheads="1"/>
            </p:cNvSpPr>
            <p:nvPr userDrawn="1"/>
          </p:nvSpPr>
          <p:spPr bwMode="white">
            <a:xfrm>
              <a:off x="1942303" y="13188"/>
              <a:ext cx="2307422" cy="2193681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8" name="AutoShape 7"/>
            <p:cNvSpPr>
              <a:spLocks noChangeArrowheads="1"/>
            </p:cNvSpPr>
            <p:nvPr userDrawn="1"/>
          </p:nvSpPr>
          <p:spPr bwMode="white">
            <a:xfrm flipV="1">
              <a:off x="1946537" y="4657725"/>
              <a:ext cx="2307422" cy="2193681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rot="10800000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9" name="AutoShape 8"/>
            <p:cNvSpPr>
              <a:spLocks noChangeArrowheads="1"/>
            </p:cNvSpPr>
            <p:nvPr userDrawn="1"/>
          </p:nvSpPr>
          <p:spPr bwMode="white">
            <a:xfrm rot="3580510" flipH="1">
              <a:off x="4164642" y="1138681"/>
              <a:ext cx="2200275" cy="2296837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rot="10800000" vert="eaVert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0" name="AutoShape 9"/>
            <p:cNvSpPr>
              <a:spLocks noChangeArrowheads="1"/>
            </p:cNvSpPr>
            <p:nvPr userDrawn="1"/>
          </p:nvSpPr>
          <p:spPr bwMode="white">
            <a:xfrm rot="3587343" flipV="1">
              <a:off x="-101973" y="3469781"/>
              <a:ext cx="2200275" cy="2298956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vert="eaVert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" name="AutoShape 11"/>
            <p:cNvSpPr>
              <a:spLocks noChangeArrowheads="1"/>
            </p:cNvSpPr>
            <p:nvPr userDrawn="1"/>
          </p:nvSpPr>
          <p:spPr bwMode="white">
            <a:xfrm>
              <a:off x="1764483" y="2314575"/>
              <a:ext cx="2686348" cy="2212365"/>
            </a:xfrm>
            <a:prstGeom prst="hexagon">
              <a:avLst>
                <a:gd name="adj" fmla="val 28961"/>
                <a:gd name="vf" fmla="val 115470"/>
              </a:avLst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>
                <a:solidFill>
                  <a:srgbClr val="000000"/>
                </a:solidFill>
                <a:latin typeface="Calibri"/>
              </a:endParaRPr>
            </a:p>
          </p:txBody>
        </p:sp>
      </p:grpSp>
      <p:sp>
        <p:nvSpPr>
          <p:cNvPr id="16" name="Date Placeholder 3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2343150" y="9347200"/>
            <a:ext cx="1562100" cy="31273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mtClean="0">
                <a:solidFill>
                  <a:srgbClr val="3E3E3E"/>
                </a:solidFill>
                <a:latin typeface="+mn-lt"/>
              </a:rPr>
              <a:t>КОНФИДЕНЦИАЛЬНО</a:t>
            </a:r>
            <a:endParaRPr lang="en-US" dirty="0">
              <a:solidFill>
                <a:srgbClr val="3E3E3E"/>
              </a:solidFill>
              <a:latin typeface="+mn-lt"/>
            </a:endParaRPr>
          </a:p>
        </p:txBody>
      </p:sp>
      <p:pic>
        <p:nvPicPr>
          <p:cNvPr id="17" name="Picture 3" descr="C:\Users\Semenova Olga\AppData\Local\Microsoft\Windows\Temporary Internet Files\Content.Outlook\TYJD7WW8\Novator logo (2).PNG"/>
          <p:cNvPicPr>
            <a:picLocks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2328863" y="5121275"/>
            <a:ext cx="998537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4" descr="C:\Users\Semenova Olga\Desktop\5480642.jpg"/>
          <p:cNvPicPr>
            <a:picLocks noChangeArrowheads="1"/>
          </p:cNvPicPr>
          <p:nvPr userDrawn="1">
            <p:custDataLst>
              <p:tags r:id="rId7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5803900" y="9161463"/>
            <a:ext cx="833438" cy="61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7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C:\Users\Semenova Olga\Desktop\5480642.jpg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139700" y="9480550"/>
            <a:ext cx="673100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5"/>
          <p:cNvSpPr/>
          <p:nvPr>
            <p:custDataLst>
              <p:tags r:id="rId4"/>
            </p:custDataLst>
          </p:nvPr>
        </p:nvSpPr>
        <p:spPr>
          <a:xfrm rot="16200000" flipV="1">
            <a:off x="3019425" y="-3052763"/>
            <a:ext cx="817563" cy="6856413"/>
          </a:xfrm>
          <a:prstGeom prst="rect">
            <a:avLst/>
          </a:prstGeom>
          <a:solidFill>
            <a:srgbClr val="FFD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рямоугольник 15"/>
          <p:cNvSpPr/>
          <p:nvPr>
            <p:custDataLst>
              <p:tags r:id="rId5"/>
            </p:custDataLst>
          </p:nvPr>
        </p:nvSpPr>
        <p:spPr>
          <a:xfrm>
            <a:off x="835025" y="9480550"/>
            <a:ext cx="5580063" cy="330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0" name="Прямоугольник 16"/>
          <p:cNvSpPr/>
          <p:nvPr>
            <p:custDataLst>
              <p:tags r:id="rId6"/>
            </p:custDataLst>
          </p:nvPr>
        </p:nvSpPr>
        <p:spPr>
          <a:xfrm>
            <a:off x="6440488" y="9480550"/>
            <a:ext cx="300037" cy="32702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2"/>
          <p:cNvSpPr txBox="1"/>
          <p:nvPr>
            <p:custDataLst>
              <p:tags r:id="rId7"/>
            </p:custDataLst>
          </p:nvPr>
        </p:nvSpPr>
        <p:spPr>
          <a:xfrm>
            <a:off x="6464300" y="9472613"/>
            <a:ext cx="252413" cy="355600"/>
          </a:xfrm>
          <a:prstGeom prst="rect">
            <a:avLst/>
          </a:prstGeom>
          <a:noFill/>
          <a:ln/>
          <a:effectLst/>
        </p:spPr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57A5A08C-8EDE-4190-8887-325CFB04897C}" type="slidenum">
              <a:rPr lang="en-US" sz="800">
                <a:solidFill>
                  <a:srgbClr val="4D4D4D"/>
                </a:solidFill>
                <a:latin typeface="+mn-lt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4D4D4D"/>
              </a:solidFill>
              <a:latin typeface="+mn-lt"/>
            </a:endParaRPr>
          </a:p>
        </p:txBody>
      </p:sp>
      <p:graphicFrame>
        <p:nvGraphicFramePr>
          <p:cNvPr id="12" name="Object 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88" y="1588"/>
          <a:ext cx="0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78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17844" y="1539200"/>
            <a:ext cx="6625800" cy="7306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17844" y="171600"/>
            <a:ext cx="6625800" cy="733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0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4" descr="C:\Users\Semenova Olga\Desktop\5480642.jpg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139700" y="9480550"/>
            <a:ext cx="673100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15"/>
          <p:cNvSpPr/>
          <p:nvPr>
            <p:custDataLst>
              <p:tags r:id="rId4"/>
            </p:custDataLst>
          </p:nvPr>
        </p:nvSpPr>
        <p:spPr>
          <a:xfrm rot="16200000" flipV="1">
            <a:off x="3019425" y="-3052763"/>
            <a:ext cx="817563" cy="6856413"/>
          </a:xfrm>
          <a:prstGeom prst="rect">
            <a:avLst/>
          </a:prstGeom>
          <a:solidFill>
            <a:srgbClr val="FFD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Прямоугольник 15"/>
          <p:cNvSpPr/>
          <p:nvPr>
            <p:custDataLst>
              <p:tags r:id="rId5"/>
            </p:custDataLst>
          </p:nvPr>
        </p:nvSpPr>
        <p:spPr>
          <a:xfrm>
            <a:off x="835025" y="9480550"/>
            <a:ext cx="5580063" cy="330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Прямоугольник 16"/>
          <p:cNvSpPr/>
          <p:nvPr>
            <p:custDataLst>
              <p:tags r:id="rId6"/>
            </p:custDataLst>
          </p:nvPr>
        </p:nvSpPr>
        <p:spPr>
          <a:xfrm>
            <a:off x="6440488" y="9480550"/>
            <a:ext cx="300037" cy="32702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12"/>
          <p:cNvSpPr txBox="1"/>
          <p:nvPr>
            <p:custDataLst>
              <p:tags r:id="rId7"/>
            </p:custDataLst>
          </p:nvPr>
        </p:nvSpPr>
        <p:spPr>
          <a:xfrm>
            <a:off x="6464300" y="9472613"/>
            <a:ext cx="252413" cy="355600"/>
          </a:xfrm>
          <a:prstGeom prst="rect">
            <a:avLst/>
          </a:prstGeom>
          <a:noFill/>
          <a:ln/>
          <a:effectLst/>
        </p:spPr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8830A42-520D-44F5-97C3-4FB94D6A7D73}" type="slidenum">
              <a:rPr lang="en-US" sz="800">
                <a:solidFill>
                  <a:srgbClr val="4D4D4D"/>
                </a:solidFill>
                <a:latin typeface="+mn-lt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4D4D4D"/>
              </a:solidFill>
              <a:latin typeface="+mn-lt"/>
            </a:endParaRPr>
          </a:p>
        </p:txBody>
      </p:sp>
      <p:graphicFrame>
        <p:nvGraphicFramePr>
          <p:cNvPr id="8" name="Object 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88" y="1588"/>
          <a:ext cx="0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02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2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4" descr="C:\Users\Semenova Olga\Desktop\5480642.jpg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3"/>
          <a:srcRect/>
          <a:stretch>
            <a:fillRect/>
          </a:stretch>
        </p:blipFill>
        <p:spPr bwMode="auto">
          <a:xfrm>
            <a:off x="139700" y="9480550"/>
            <a:ext cx="673100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15"/>
          <p:cNvSpPr/>
          <p:nvPr>
            <p:custDataLst>
              <p:tags r:id="rId4"/>
            </p:custDataLst>
          </p:nvPr>
        </p:nvSpPr>
        <p:spPr>
          <a:xfrm rot="16200000" flipV="1">
            <a:off x="3019425" y="-3052763"/>
            <a:ext cx="817563" cy="6856413"/>
          </a:xfrm>
          <a:prstGeom prst="rect">
            <a:avLst/>
          </a:prstGeom>
          <a:solidFill>
            <a:srgbClr val="FFD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Прямоугольник 15"/>
          <p:cNvSpPr/>
          <p:nvPr>
            <p:custDataLst>
              <p:tags r:id="rId5"/>
            </p:custDataLst>
          </p:nvPr>
        </p:nvSpPr>
        <p:spPr>
          <a:xfrm>
            <a:off x="835025" y="9480550"/>
            <a:ext cx="5580063" cy="330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Прямоугольник 16"/>
          <p:cNvSpPr/>
          <p:nvPr>
            <p:custDataLst>
              <p:tags r:id="rId6"/>
            </p:custDataLst>
          </p:nvPr>
        </p:nvSpPr>
        <p:spPr>
          <a:xfrm>
            <a:off x="6440488" y="9480550"/>
            <a:ext cx="300037" cy="32702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12"/>
          <p:cNvSpPr txBox="1"/>
          <p:nvPr>
            <p:custDataLst>
              <p:tags r:id="rId7"/>
            </p:custDataLst>
          </p:nvPr>
        </p:nvSpPr>
        <p:spPr>
          <a:xfrm>
            <a:off x="6464300" y="9472613"/>
            <a:ext cx="252413" cy="355600"/>
          </a:xfrm>
          <a:prstGeom prst="rect">
            <a:avLst/>
          </a:prstGeom>
          <a:noFill/>
          <a:ln/>
          <a:effectLst/>
        </p:spPr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A6E177A6-4496-4A2F-BF54-2873E21C33E7}" type="slidenum">
              <a:rPr lang="en-US" sz="800">
                <a:solidFill>
                  <a:srgbClr val="4D4D4D"/>
                </a:solidFill>
                <a:latin typeface="+mn-lt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4D4D4D"/>
              </a:solidFill>
              <a:latin typeface="+mn-lt"/>
            </a:endParaRPr>
          </a:p>
        </p:txBody>
      </p:sp>
      <p:graphicFrame>
        <p:nvGraphicFramePr>
          <p:cNvPr id="8" name="Object 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88" y="1588"/>
          <a:ext cx="0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26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2"/>
          <p:cNvSpPr txBox="1"/>
          <p:nvPr userDrawn="1">
            <p:custDataLst>
              <p:tags r:id="rId9"/>
            </p:custDataLst>
          </p:nvPr>
        </p:nvSpPr>
        <p:spPr>
          <a:xfrm>
            <a:off x="6597650" y="9426575"/>
            <a:ext cx="142875" cy="182563"/>
          </a:xfrm>
          <a:prstGeom prst="rect">
            <a:avLst/>
          </a:prstGeom>
          <a:noFill/>
          <a:ln/>
          <a:effectLst/>
        </p:spPr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3571E847-06B6-44B6-90C8-95BAF0A1E762}" type="slidenum">
              <a:rPr lang="en-US" sz="800">
                <a:solidFill>
                  <a:srgbClr val="4D4D4D"/>
                </a:solidFill>
                <a:latin typeface="+mn-lt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4D4D4D"/>
              </a:solidFill>
              <a:latin typeface="+mn-lt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4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C:\Users\Semenova Olga\Desktop\5480642.jpg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3"/>
          <a:srcRect/>
          <a:stretch>
            <a:fillRect/>
          </a:stretch>
        </p:blipFill>
        <p:spPr bwMode="auto">
          <a:xfrm>
            <a:off x="139700" y="9480550"/>
            <a:ext cx="673100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5"/>
          <p:cNvSpPr/>
          <p:nvPr>
            <p:custDataLst>
              <p:tags r:id="rId4"/>
            </p:custDataLst>
          </p:nvPr>
        </p:nvSpPr>
        <p:spPr>
          <a:xfrm rot="16200000" flipV="1">
            <a:off x="3019425" y="-3052763"/>
            <a:ext cx="817563" cy="6856413"/>
          </a:xfrm>
          <a:prstGeom prst="rect">
            <a:avLst/>
          </a:prstGeom>
          <a:solidFill>
            <a:srgbClr val="FFD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Прямоугольник 15"/>
          <p:cNvSpPr/>
          <p:nvPr>
            <p:custDataLst>
              <p:tags r:id="rId5"/>
            </p:custDataLst>
          </p:nvPr>
        </p:nvSpPr>
        <p:spPr>
          <a:xfrm>
            <a:off x="835025" y="9480550"/>
            <a:ext cx="5580063" cy="330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8" name="Прямоугольник 16"/>
          <p:cNvSpPr/>
          <p:nvPr>
            <p:custDataLst>
              <p:tags r:id="rId6"/>
            </p:custDataLst>
          </p:nvPr>
        </p:nvSpPr>
        <p:spPr>
          <a:xfrm>
            <a:off x="6440488" y="9480550"/>
            <a:ext cx="300037" cy="32702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extBox 12"/>
          <p:cNvSpPr txBox="1"/>
          <p:nvPr>
            <p:custDataLst>
              <p:tags r:id="rId7"/>
            </p:custDataLst>
          </p:nvPr>
        </p:nvSpPr>
        <p:spPr>
          <a:xfrm>
            <a:off x="6464300" y="9472613"/>
            <a:ext cx="252413" cy="355600"/>
          </a:xfrm>
          <a:prstGeom prst="rect">
            <a:avLst/>
          </a:prstGeom>
          <a:noFill/>
          <a:ln/>
          <a:effectLst/>
        </p:spPr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60DF6DDC-FAE1-4C0F-ABC5-7A44F3BD45FB}" type="slidenum">
              <a:rPr lang="en-US" sz="800">
                <a:solidFill>
                  <a:srgbClr val="4D4D4D"/>
                </a:solidFill>
                <a:latin typeface="+mn-lt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4D4D4D"/>
              </a:solidFill>
              <a:latin typeface="+mn-lt"/>
            </a:endParaRPr>
          </a:p>
        </p:txBody>
      </p:sp>
      <p:graphicFrame>
        <p:nvGraphicFramePr>
          <p:cNvPr id="10" name="Object 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50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3" descr="C:\Users\Semenova Olga\AppData\Local\Microsoft\Windows\Temporary Internet Files\Content.Outlook\TYJD7WW8\Novator logo (2).PNG"/>
          <p:cNvPicPr>
            <a:picLocks noChangeArrowheads="1"/>
          </p:cNvPicPr>
          <p:nvPr userDrawn="1">
            <p:custDataLst>
              <p:tags r:id="rId9"/>
            </p:custDataLst>
          </p:nvPr>
        </p:nvPicPr>
        <p:blipFill>
          <a:blip r:embed="rId16"/>
          <a:srcRect/>
          <a:stretch>
            <a:fillRect/>
          </a:stretch>
        </p:blipFill>
        <p:spPr bwMode="auto">
          <a:xfrm>
            <a:off x="1588" y="-38100"/>
            <a:ext cx="25336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2887" y="989399"/>
            <a:ext cx="6594871" cy="8443968"/>
          </a:xfrm>
          <a:prstGeom prst="rect">
            <a:avLst/>
          </a:prstGeom>
        </p:spPr>
        <p:txBody>
          <a:bodyPr/>
          <a:lstStyle>
            <a:lvl1pPr>
              <a:defRPr sz="1400" b="0">
                <a:latin typeface="Calibri" pitchFamily="34" charset="0"/>
                <a:cs typeface="Calibri" pitchFamily="34" charset="0"/>
              </a:defRPr>
            </a:lvl1pPr>
            <a:lvl2pPr marL="87313" indent="-87313">
              <a:buClrTx/>
              <a:buSzPct val="90000"/>
              <a:defRPr sz="1200">
                <a:latin typeface="Calibri" pitchFamily="34" charset="0"/>
                <a:cs typeface="Calibri" pitchFamily="34" charset="0"/>
              </a:defRPr>
            </a:lvl2pPr>
            <a:lvl3pPr marL="271463" indent="-96838">
              <a:buClrTx/>
              <a:buSzPct val="90000"/>
              <a:defRPr sz="1200">
                <a:latin typeface="Calibri" pitchFamily="34" charset="0"/>
                <a:cs typeface="Calibri" pitchFamily="34" charset="0"/>
              </a:defRPr>
            </a:lvl3pPr>
            <a:lvl4pPr>
              <a:defRPr sz="1200">
                <a:latin typeface="Arial" pitchFamily="34" charset="0"/>
                <a:cs typeface="Arial" pitchFamily="34" charset="0"/>
              </a:defRPr>
            </a:lvl4pPr>
            <a:lvl5pPr>
              <a:defRPr sz="12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0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8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17844" y="1539200"/>
            <a:ext cx="6625800" cy="730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17844" y="171600"/>
            <a:ext cx="6625800" cy="7332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0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17844" y="171600"/>
            <a:ext cx="6625800" cy="7332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0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0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5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Группа 8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0" y="-261938"/>
            <a:ext cx="2835275" cy="10415588"/>
            <a:chOff x="3" y="-171400"/>
            <a:chExt cx="3779910" cy="7202445"/>
          </a:xfrm>
        </p:grpSpPr>
        <p:sp>
          <p:nvSpPr>
            <p:cNvPr id="6" name="Rectangle 15"/>
            <p:cNvSpPr/>
            <p:nvPr userDrawn="1"/>
          </p:nvSpPr>
          <p:spPr bwMode="gray">
            <a:xfrm rot="16200000">
              <a:off x="-2147814" y="2153157"/>
              <a:ext cx="6852257" cy="2556624"/>
            </a:xfrm>
            <a:prstGeom prst="rect">
              <a:avLst/>
            </a:prstGeom>
            <a:solidFill>
              <a:srgbClr val="FFD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" name="AutoShape 5"/>
            <p:cNvSpPr>
              <a:spLocks noChangeArrowheads="1"/>
            </p:cNvSpPr>
            <p:nvPr/>
          </p:nvSpPr>
          <p:spPr bwMode="white">
            <a:xfrm rot="12671188">
              <a:off x="1299479" y="4483130"/>
              <a:ext cx="2463502" cy="2547915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vert="eaVert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8" name="AutoShape 6"/>
            <p:cNvSpPr>
              <a:spLocks noChangeArrowheads="1"/>
            </p:cNvSpPr>
            <p:nvPr/>
          </p:nvSpPr>
          <p:spPr bwMode="white">
            <a:xfrm rot="16200000">
              <a:off x="15799" y="2172833"/>
              <a:ext cx="2558894" cy="2522762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9" name="AutoShape 8"/>
            <p:cNvSpPr>
              <a:spLocks noChangeArrowheads="1"/>
            </p:cNvSpPr>
            <p:nvPr/>
          </p:nvSpPr>
          <p:spPr bwMode="white">
            <a:xfrm rot="19780510" flipH="1">
              <a:off x="1316411" y="-171400"/>
              <a:ext cx="2463502" cy="2547916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rot="10800000" vert="eaVert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>
                <a:solidFill>
                  <a:srgbClr val="000000"/>
                </a:solidFill>
                <a:latin typeface="Calibri"/>
              </a:endParaRPr>
            </a:p>
          </p:txBody>
        </p:sp>
      </p:grpSp>
      <p:pic>
        <p:nvPicPr>
          <p:cNvPr id="10" name="Picture 3" descr="C:\Users\Semenova Olga\AppData\Local\Microsoft\Windows\Temporary Internet Files\Content.Outlook\TYJD7WW8\Novator logo (2).PNG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1928813" y="1012825"/>
            <a:ext cx="998537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Users\Semenova Olga\Desktop\5480642.jpg"/>
          <p:cNvPicPr>
            <a:picLocks noChangeArrowheads="1"/>
          </p:cNvPicPr>
          <p:nvPr userDrawn="1">
            <p:custDataLst>
              <p:tags r:id="rId5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5803900" y="9161463"/>
            <a:ext cx="833438" cy="61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itle 17"/>
          <p:cNvSpPr>
            <a:spLocks noGrp="1"/>
          </p:cNvSpPr>
          <p:nvPr>
            <p:ph type="title"/>
          </p:nvPr>
        </p:nvSpPr>
        <p:spPr>
          <a:xfrm>
            <a:off x="1929287" y="171600"/>
            <a:ext cx="4313643" cy="7332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1928814" y="1543227"/>
            <a:ext cx="4313635" cy="393488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0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7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"/>
          <p:cNvSpPr txBox="1"/>
          <p:nvPr userDrawn="1">
            <p:custDataLst>
              <p:tags r:id="rId3"/>
            </p:custDataLst>
          </p:nvPr>
        </p:nvSpPr>
        <p:spPr>
          <a:xfrm>
            <a:off x="3243263" y="4960938"/>
            <a:ext cx="1657350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cap="small">
                <a:solidFill>
                  <a:srgbClr val="3E3E3E"/>
                </a:solidFill>
                <a:latin typeface="+mn-lt"/>
              </a:rPr>
              <a:t>Thank You Slide</a:t>
            </a:r>
            <a:endParaRPr lang="en-US" b="1" cap="small" dirty="0">
              <a:solidFill>
                <a:srgbClr val="3E3E3E"/>
              </a:solidFill>
              <a:latin typeface="+mn-lt"/>
            </a:endParaRPr>
          </a:p>
        </p:txBody>
      </p:sp>
      <p:grpSp>
        <p:nvGrpSpPr>
          <p:cNvPr id="4" name="Группа 8"/>
          <p:cNvGrpSpPr>
            <a:grpSpLocks/>
          </p:cNvGrpSpPr>
          <p:nvPr userDrawn="1">
            <p:custDataLst>
              <p:tags r:id="rId4"/>
            </p:custDataLst>
          </p:nvPr>
        </p:nvGrpSpPr>
        <p:grpSpPr bwMode="auto">
          <a:xfrm>
            <a:off x="0" y="-261938"/>
            <a:ext cx="2835275" cy="10415588"/>
            <a:chOff x="3" y="-171400"/>
            <a:chExt cx="3779910" cy="7202445"/>
          </a:xfrm>
        </p:grpSpPr>
        <p:sp>
          <p:nvSpPr>
            <p:cNvPr id="5" name="Rectangle 15"/>
            <p:cNvSpPr/>
            <p:nvPr userDrawn="1"/>
          </p:nvSpPr>
          <p:spPr bwMode="gray">
            <a:xfrm rot="16200000">
              <a:off x="-2147814" y="2153157"/>
              <a:ext cx="6852257" cy="2556624"/>
            </a:xfrm>
            <a:prstGeom prst="rect">
              <a:avLst/>
            </a:prstGeom>
            <a:solidFill>
              <a:srgbClr val="FFDD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" name="AutoShape 5"/>
            <p:cNvSpPr>
              <a:spLocks noChangeArrowheads="1"/>
            </p:cNvSpPr>
            <p:nvPr/>
          </p:nvSpPr>
          <p:spPr bwMode="white">
            <a:xfrm rot="12671188">
              <a:off x="1299479" y="4483130"/>
              <a:ext cx="2463502" cy="2547915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vert="eaVert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" name="AutoShape 6"/>
            <p:cNvSpPr>
              <a:spLocks noChangeArrowheads="1"/>
            </p:cNvSpPr>
            <p:nvPr/>
          </p:nvSpPr>
          <p:spPr bwMode="white">
            <a:xfrm rot="16200000">
              <a:off x="15799" y="2172833"/>
              <a:ext cx="2558894" cy="2522762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8" name="AutoShape 8"/>
            <p:cNvSpPr>
              <a:spLocks noChangeArrowheads="1"/>
            </p:cNvSpPr>
            <p:nvPr/>
          </p:nvSpPr>
          <p:spPr bwMode="white">
            <a:xfrm rot="19780510" flipH="1">
              <a:off x="1316411" y="-171400"/>
              <a:ext cx="2463502" cy="2547916"/>
            </a:xfrm>
            <a:prstGeom prst="pentagon">
              <a:avLst/>
            </a:prstGeom>
            <a:noFill/>
            <a:ln w="12700" cap="flat" cmpd="sng" algn="ctr">
              <a:solidFill>
                <a:schemeClr val="bg1">
                  <a:alpha val="70000"/>
                </a:schemeClr>
              </a:solidFill>
              <a:prstDash val="solid"/>
              <a:headEnd/>
              <a:tailEnd/>
            </a:ln>
            <a:effectLst/>
          </p:spPr>
          <p:txBody>
            <a:bodyPr rot="10800000" vert="eaVert" lIns="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>
                <a:solidFill>
                  <a:srgbClr val="000000"/>
                </a:solidFill>
                <a:latin typeface="Calibri"/>
              </a:endParaRPr>
            </a:p>
          </p:txBody>
        </p:sp>
      </p:grpSp>
      <p:pic>
        <p:nvPicPr>
          <p:cNvPr id="9" name="Picture 3" descr="C:\Users\Semenova Olga\AppData\Local\Microsoft\Windows\Temporary Internet Files\Content.Outlook\TYJD7WW8\Novator logo (2).PNG"/>
          <p:cNvPicPr>
            <a:picLocks noChangeArrowheads="1"/>
          </p:cNvPicPr>
          <p:nvPr userDrawn="1">
            <p:custDataLst>
              <p:tags r:id="rId5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1928813" y="495300"/>
            <a:ext cx="998537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4" descr="C:\Users\Semenova Olga\Desktop\5480642.jpg"/>
          <p:cNvPicPr>
            <a:picLocks noChangeArrowheads="1"/>
          </p:cNvPicPr>
          <p:nvPr userDrawn="1">
            <p:custDataLst>
              <p:tags r:id="rId6"/>
            </p:custData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5803900" y="9161463"/>
            <a:ext cx="833438" cy="61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0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4" descr="C:\Users\Semenova Olga\Desktop\5480642.jpg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139700" y="9480550"/>
            <a:ext cx="673100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5"/>
          <p:cNvSpPr/>
          <p:nvPr>
            <p:custDataLst>
              <p:tags r:id="rId4"/>
            </p:custDataLst>
          </p:nvPr>
        </p:nvSpPr>
        <p:spPr>
          <a:xfrm rot="16200000" flipV="1">
            <a:off x="3019425" y="-3052763"/>
            <a:ext cx="817563" cy="6856413"/>
          </a:xfrm>
          <a:prstGeom prst="rect">
            <a:avLst/>
          </a:prstGeom>
          <a:solidFill>
            <a:srgbClr val="FFD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Прямоугольник 15"/>
          <p:cNvSpPr/>
          <p:nvPr>
            <p:custDataLst>
              <p:tags r:id="rId5"/>
            </p:custDataLst>
          </p:nvPr>
        </p:nvSpPr>
        <p:spPr>
          <a:xfrm>
            <a:off x="835025" y="9480550"/>
            <a:ext cx="5580063" cy="330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7" name="Прямоугольник 16"/>
          <p:cNvSpPr/>
          <p:nvPr>
            <p:custDataLst>
              <p:tags r:id="rId6"/>
            </p:custDataLst>
          </p:nvPr>
        </p:nvSpPr>
        <p:spPr>
          <a:xfrm>
            <a:off x="6440488" y="9480550"/>
            <a:ext cx="300037" cy="32702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Box 12"/>
          <p:cNvSpPr txBox="1"/>
          <p:nvPr>
            <p:custDataLst>
              <p:tags r:id="rId7"/>
            </p:custDataLst>
          </p:nvPr>
        </p:nvSpPr>
        <p:spPr>
          <a:xfrm>
            <a:off x="6464300" y="9472613"/>
            <a:ext cx="252413" cy="355600"/>
          </a:xfrm>
          <a:prstGeom prst="rect">
            <a:avLst/>
          </a:prstGeom>
          <a:noFill/>
          <a:ln/>
          <a:effectLst/>
        </p:spPr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C350A887-C953-4009-94E5-D74C4D3C1D52}" type="slidenum">
              <a:rPr lang="en-US" sz="800">
                <a:solidFill>
                  <a:srgbClr val="4D4D4D"/>
                </a:solidFill>
                <a:latin typeface="+mn-lt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4D4D4D"/>
              </a:solidFill>
              <a:latin typeface="+mn-lt"/>
            </a:endParaRPr>
          </a:p>
        </p:txBody>
      </p:sp>
      <p:graphicFrame>
        <p:nvGraphicFramePr>
          <p:cNvPr id="9" name="Object 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88" y="1588"/>
          <a:ext cx="0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06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2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4" descr="C:\Users\Semenova Olga\Desktop\5480642.jpg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139700" y="9480550"/>
            <a:ext cx="673100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15"/>
          <p:cNvSpPr/>
          <p:nvPr>
            <p:custDataLst>
              <p:tags r:id="rId4"/>
            </p:custDataLst>
          </p:nvPr>
        </p:nvSpPr>
        <p:spPr>
          <a:xfrm rot="16200000" flipV="1">
            <a:off x="3019425" y="-3052763"/>
            <a:ext cx="817563" cy="6856413"/>
          </a:xfrm>
          <a:prstGeom prst="rect">
            <a:avLst/>
          </a:prstGeom>
          <a:solidFill>
            <a:srgbClr val="FFD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Прямоугольник 15"/>
          <p:cNvSpPr/>
          <p:nvPr>
            <p:custDataLst>
              <p:tags r:id="rId5"/>
            </p:custDataLst>
          </p:nvPr>
        </p:nvSpPr>
        <p:spPr>
          <a:xfrm>
            <a:off x="835025" y="9480550"/>
            <a:ext cx="5580063" cy="330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Прямоугольник 16"/>
          <p:cNvSpPr/>
          <p:nvPr>
            <p:custDataLst>
              <p:tags r:id="rId6"/>
            </p:custDataLst>
          </p:nvPr>
        </p:nvSpPr>
        <p:spPr>
          <a:xfrm>
            <a:off x="6440488" y="9480550"/>
            <a:ext cx="300037" cy="32702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12"/>
          <p:cNvSpPr txBox="1"/>
          <p:nvPr>
            <p:custDataLst>
              <p:tags r:id="rId7"/>
            </p:custDataLst>
          </p:nvPr>
        </p:nvSpPr>
        <p:spPr>
          <a:xfrm>
            <a:off x="6464300" y="9472613"/>
            <a:ext cx="252413" cy="355600"/>
          </a:xfrm>
          <a:prstGeom prst="rect">
            <a:avLst/>
          </a:prstGeom>
          <a:noFill/>
          <a:ln/>
          <a:effectLst/>
        </p:spPr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5BE42E62-BC68-46A4-B93C-B85A6DF44062}" type="slidenum">
              <a:rPr lang="en-US" sz="800">
                <a:solidFill>
                  <a:srgbClr val="4D4D4D"/>
                </a:solidFill>
                <a:latin typeface="+mn-lt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4D4D4D"/>
              </a:solidFill>
              <a:latin typeface="+mn-lt"/>
            </a:endParaRPr>
          </a:p>
        </p:txBody>
      </p:sp>
      <p:graphicFrame>
        <p:nvGraphicFramePr>
          <p:cNvPr id="8" name="Object 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88" y="1588"/>
          <a:ext cx="0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0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C:\Users\Semenova Olga\Desktop\5480642.jpg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139700" y="9480550"/>
            <a:ext cx="673100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5"/>
          <p:cNvSpPr/>
          <p:nvPr>
            <p:custDataLst>
              <p:tags r:id="rId4"/>
            </p:custDataLst>
          </p:nvPr>
        </p:nvSpPr>
        <p:spPr>
          <a:xfrm rot="16200000" flipV="1">
            <a:off x="3019425" y="-3052763"/>
            <a:ext cx="817563" cy="6856413"/>
          </a:xfrm>
          <a:prstGeom prst="rect">
            <a:avLst/>
          </a:prstGeom>
          <a:solidFill>
            <a:srgbClr val="FFD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рямоугольник 15"/>
          <p:cNvSpPr/>
          <p:nvPr>
            <p:custDataLst>
              <p:tags r:id="rId5"/>
            </p:custDataLst>
          </p:nvPr>
        </p:nvSpPr>
        <p:spPr>
          <a:xfrm>
            <a:off x="835025" y="9480550"/>
            <a:ext cx="5580063" cy="330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0" name="Прямоугольник 16"/>
          <p:cNvSpPr/>
          <p:nvPr>
            <p:custDataLst>
              <p:tags r:id="rId6"/>
            </p:custDataLst>
          </p:nvPr>
        </p:nvSpPr>
        <p:spPr>
          <a:xfrm>
            <a:off x="6440488" y="9480550"/>
            <a:ext cx="300037" cy="32702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2"/>
          <p:cNvSpPr txBox="1"/>
          <p:nvPr>
            <p:custDataLst>
              <p:tags r:id="rId7"/>
            </p:custDataLst>
          </p:nvPr>
        </p:nvSpPr>
        <p:spPr>
          <a:xfrm>
            <a:off x="6464300" y="9472613"/>
            <a:ext cx="252413" cy="355600"/>
          </a:xfrm>
          <a:prstGeom prst="rect">
            <a:avLst/>
          </a:prstGeom>
          <a:noFill/>
          <a:ln/>
          <a:effectLst/>
        </p:spPr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92F7E396-7CC6-4256-B987-615D53563290}" type="slidenum">
              <a:rPr lang="en-US" sz="800">
                <a:solidFill>
                  <a:srgbClr val="4D4D4D"/>
                </a:solidFill>
                <a:latin typeface="+mn-lt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4D4D4D"/>
              </a:solidFill>
              <a:latin typeface="+mn-lt"/>
            </a:endParaRPr>
          </a:p>
        </p:txBody>
      </p:sp>
      <p:graphicFrame>
        <p:nvGraphicFramePr>
          <p:cNvPr id="12" name="Object 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88" y="1588"/>
          <a:ext cx="0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4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17844" y="1539200"/>
            <a:ext cx="6625800" cy="730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17844" y="171600"/>
            <a:ext cx="6625800" cy="7332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image" Target="../media/image4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tags" Target="../tags/tag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37" name="Object 189"/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1588" y="1588"/>
          <a:ext cx="1587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1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Picture 189"/>
                      <p:cNvPicPr>
                        <a:picLocks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3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39" name="Picture 4" descr="C:\Users\Semenova Olga\Desktop\5480642.jpg"/>
          <p:cNvPicPr>
            <a:picLocks noChangeArrowheads="1"/>
          </p:cNvPicPr>
          <p:nvPr>
            <p:custDataLst>
              <p:tags r:id="rId17"/>
            </p:custDataLst>
          </p:nvPr>
        </p:nvPicPr>
        <p:blipFill>
          <a:blip r:embed="rId26"/>
          <a:srcRect/>
          <a:stretch>
            <a:fillRect/>
          </a:stretch>
        </p:blipFill>
        <p:spPr bwMode="auto">
          <a:xfrm>
            <a:off x="139700" y="9480550"/>
            <a:ext cx="673100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15"/>
          <p:cNvSpPr/>
          <p:nvPr>
            <p:custDataLst>
              <p:tags r:id="rId18"/>
            </p:custDataLst>
          </p:nvPr>
        </p:nvSpPr>
        <p:spPr>
          <a:xfrm rot="16200000" flipV="1">
            <a:off x="3019425" y="-3052763"/>
            <a:ext cx="817563" cy="6856413"/>
          </a:xfrm>
          <a:prstGeom prst="rect">
            <a:avLst/>
          </a:prstGeom>
          <a:solidFill>
            <a:srgbClr val="FFD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19"/>
            </p:custDataLst>
          </p:nvPr>
        </p:nvSpPr>
        <p:spPr>
          <a:xfrm>
            <a:off x="835025" y="9480550"/>
            <a:ext cx="5580063" cy="330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20"/>
            </p:custDataLst>
          </p:nvPr>
        </p:nvSpPr>
        <p:spPr>
          <a:xfrm>
            <a:off x="6440488" y="9480550"/>
            <a:ext cx="300037" cy="32702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117475" y="171450"/>
            <a:ext cx="6624638" cy="7334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244" name="Text Placeholder 11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17475" y="1541463"/>
            <a:ext cx="6626225" cy="730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13" name="TextBox 12"/>
          <p:cNvSpPr txBox="1"/>
          <p:nvPr>
            <p:custDataLst>
              <p:tags r:id="rId23"/>
            </p:custDataLst>
          </p:nvPr>
        </p:nvSpPr>
        <p:spPr>
          <a:xfrm>
            <a:off x="6464300" y="9472613"/>
            <a:ext cx="252413" cy="355600"/>
          </a:xfrm>
          <a:prstGeom prst="rect">
            <a:avLst/>
          </a:prstGeom>
          <a:noFill/>
          <a:ln/>
          <a:effectLst/>
        </p:spPr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A76CABB3-A1D2-4583-A8D6-16C9D656478B}" type="slidenum">
              <a:rPr lang="en-US" sz="800">
                <a:solidFill>
                  <a:srgbClr val="4D4D4D"/>
                </a:solidFill>
                <a:latin typeface="+mn-lt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4D4D4D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b="1" kern="1200" cap="all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Calibri" pitchFamily="34" charset="0"/>
        </a:defRPr>
      </a:lvl9pPr>
    </p:titleStyle>
    <p:bodyStyle>
      <a:lvl1pPr marL="87313" indent="-87313" algn="l" rtl="0" fontAlgn="base">
        <a:spcBef>
          <a:spcPts val="800"/>
        </a:spcBef>
        <a:spcAft>
          <a:spcPct val="0"/>
        </a:spcAft>
        <a:buFont typeface="Arial" charset="0"/>
        <a:defRPr sz="1400" b="1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361950" indent="-171450" algn="l" rtl="0" fontAlgn="base">
        <a:spcBef>
          <a:spcPts val="300"/>
        </a:spcBef>
        <a:spcAft>
          <a:spcPct val="0"/>
        </a:spcAft>
        <a:buSzPct val="90000"/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628650" indent="-180975" algn="l" rtl="0" fontAlgn="base">
        <a:spcBef>
          <a:spcPts val="300"/>
        </a:spcBef>
        <a:spcAft>
          <a:spcPct val="0"/>
        </a:spcAft>
        <a:buSzPct val="90000"/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895350" indent="-171450" algn="l" rtl="0" fontAlgn="base">
        <a:spcBef>
          <a:spcPts val="300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Arial" charset="0"/>
        </a:defRPr>
      </a:lvl4pPr>
      <a:lvl5pPr marL="1162050" indent="-171450" algn="l" rtl="0" fontAlgn="base">
        <a:spcBef>
          <a:spcPts val="300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Arial" charset="0"/>
        </a:defRPr>
      </a:lvl5pPr>
      <a:lvl6pPr marL="1097280" indent="-173736" algn="l" defTabSz="914400" rtl="0" eaLnBrk="1" latinLnBrk="0" hangingPunct="1">
        <a:spcBef>
          <a:spcPts val="300"/>
        </a:spcBef>
        <a:buClr>
          <a:schemeClr val="tx1"/>
        </a:buClr>
        <a:buSzPct val="90000"/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353312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581912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792224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image" Target="../media/image11.png"/><Relationship Id="rId18" Type="http://schemas.openxmlformats.org/officeDocument/2006/relationships/image" Target="../media/image16.png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15.jpeg"/><Relationship Id="rId2" Type="http://schemas.openxmlformats.org/officeDocument/2006/relationships/tags" Target="../tags/tag80.xml"/><Relationship Id="rId16" Type="http://schemas.openxmlformats.org/officeDocument/2006/relationships/image" Target="../media/image14.jpeg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slideLayout" Target="../slideLayouts/slideLayout13.xml"/><Relationship Id="rId5" Type="http://schemas.openxmlformats.org/officeDocument/2006/relationships/tags" Target="../tags/tag83.xml"/><Relationship Id="rId15" Type="http://schemas.openxmlformats.org/officeDocument/2006/relationships/image" Target="../media/image13.jpeg"/><Relationship Id="rId10" Type="http://schemas.openxmlformats.org/officeDocument/2006/relationships/tags" Target="../tags/tag88.xml"/><Relationship Id="rId19" Type="http://schemas.openxmlformats.org/officeDocument/2006/relationships/image" Target="../media/image17.png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9031" name="Group 311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14313" y="1449388"/>
          <a:ext cx="6643687" cy="7433312"/>
        </p:xfrm>
        <a:graphic>
          <a:graphicData uri="http://schemas.openxmlformats.org/drawingml/2006/table">
            <a:tbl>
              <a:tblPr/>
              <a:tblGrid>
                <a:gridCol w="21542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303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637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53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71463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В случае возникновения загорания углекислотный огнетушитель применяется следующим образом</a:t>
                      </a:r>
                    </a:p>
                  </a:txBody>
                  <a:tcPr marT="49530" marB="49530" anchor="ctr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87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Порядок выполнения операций</a:t>
                      </a:r>
                    </a:p>
                  </a:txBody>
                  <a:tcPr marT="49530" marB="49530" anchor="ctr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Акцент внимания</a:t>
                      </a:r>
                    </a:p>
                  </a:txBody>
                  <a:tcPr marT="49530" marB="49530" anchor="ctr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Время</a:t>
                      </a:r>
                    </a:p>
                  </a:txBody>
                  <a:tcPr marT="49530" marB="49530" anchor="ctr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319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8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       </a:t>
                      </a: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Огнетушитель снять с того места, где он размещен – ниша пожарного крана или специальный подвес (крепление), размещенное не выше 1,5 метра от уровня пол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800" b="0" i="1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T="49530" marB="49530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uk-UA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T="49530" marB="49530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Огнетушитель должен быть исправен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Огнетушитель считается исправным если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- Он прошел техническое обслуживание в соответствии с инструкцией по эксплуатации (имеется стикер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- </a:t>
                      </a: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Находится на специальном подвесе или в нише пожарного кран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- Опломбирован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- Раструб прикручен</a:t>
                      </a:r>
                    </a:p>
                  </a:txBody>
                  <a:tcPr marT="49530" marB="49530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uk-UA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T="49530" marB="49530" anchor="ctr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874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Выдернуть пломбу, которая устанавливается на фиксаторе-чеке</a:t>
                      </a:r>
                    </a:p>
                  </a:txBody>
                  <a:tcPr marT="49530" marB="49530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uk-UA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T="49530" marB="49530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Пломба сдергивается резким движением, фиксатор должен быть свободен от опломбировочного материала (проволочка)</a:t>
                      </a:r>
                    </a:p>
                  </a:txBody>
                  <a:tcPr marT="49530" marB="49530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uk-UA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T="49530" marB="49530" anchor="ctr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699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    </a:t>
                      </a: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Выдернуть фиксатор-чеку, фиксирующую две части рукоятки в стационарном положении</a:t>
                      </a:r>
                    </a:p>
                  </a:txBody>
                  <a:tcPr marT="49530" marB="49530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uk-UA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T="49530" marB="49530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Чека выдергивается любым удобным образом, огнетушитель удерживается в удобным положении</a:t>
                      </a:r>
                    </a:p>
                  </a:txBody>
                  <a:tcPr marT="49530" marB="49530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uk-UA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T="49530" marB="49530" anchor="ctr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271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     Рукоятки огнетушителя совместить   </a:t>
                      </a:r>
                      <a:endParaRPr kumimoji="0" lang="uk-UA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uk-UA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uk-UA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T="49530" marB="49530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uk-UA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T="49530" marB="49530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Свободная рука поддерживает огнетушитель за днище баллона. При этом не бойтесь переохлаждения кистей рук, т.к. охлаждению подвергается только раструб и запорно-пусковая арматура</a:t>
                      </a:r>
                    </a:p>
                  </a:txBody>
                  <a:tcPr marT="49530" marB="49530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uk-UA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T="49530" marB="49530" anchor="ctr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319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Раструб направлять в очаг горения</a:t>
                      </a:r>
                    </a:p>
                  </a:txBody>
                  <a:tcPr marT="49530" marB="49530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uk-UA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T="49530" marB="49530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Необходимо помнить что тушение должно происходить на безопасном для Вас расстоянии 1,5 – 2 метр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В зависимости от объема баллона огнетушитель работает от 15 до 30 секунд, тушит любые сгораемые материалы, в том числе и объекты под напряжением до 1000в.</a:t>
                      </a:r>
                    </a:p>
                  </a:txBody>
                  <a:tcPr marT="49530" marB="49530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uk-UA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T="49530" marB="49530" anchor="ctr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>
            <p:custDataLst>
              <p:tags r:id="rId2"/>
            </p:custDataLst>
          </p:nvPr>
        </p:nvSpPr>
        <p:spPr>
          <a:xfrm rot="10800000" flipV="1">
            <a:off x="242888" y="3001963"/>
            <a:ext cx="179387" cy="177800"/>
          </a:xfrm>
          <a:prstGeom prst="rect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Прямоугольник 32"/>
          <p:cNvSpPr/>
          <p:nvPr>
            <p:custDataLst>
              <p:tags r:id="rId3"/>
            </p:custDataLst>
          </p:nvPr>
        </p:nvSpPr>
        <p:spPr>
          <a:xfrm>
            <a:off x="290513" y="4095750"/>
            <a:ext cx="179387" cy="179388"/>
          </a:xfrm>
          <a:prstGeom prst="rect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7" name="Прямоугольник 26"/>
          <p:cNvSpPr/>
          <p:nvPr>
            <p:custDataLst>
              <p:tags r:id="rId4"/>
            </p:custDataLst>
          </p:nvPr>
        </p:nvSpPr>
        <p:spPr>
          <a:xfrm>
            <a:off x="241300" y="5226050"/>
            <a:ext cx="180975" cy="179388"/>
          </a:xfrm>
          <a:prstGeom prst="rect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 flipV="1">
            <a:off x="1355725" y="7277100"/>
            <a:ext cx="0" cy="53975"/>
          </a:xfrm>
          <a:prstGeom prst="line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9013" name="Picture 4" descr="http://4vector.com/i/free-vector-high-tension-danger-clip-art_110931_High_Tension_Danger_clip_art_hight.pn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3"/>
          <a:srcRect/>
          <a:stretch>
            <a:fillRect/>
          </a:stretch>
        </p:blipFill>
        <p:spPr bwMode="auto">
          <a:xfrm>
            <a:off x="5903913" y="6532563"/>
            <a:ext cx="300037" cy="2317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35" name="Прямоугольник 34"/>
          <p:cNvSpPr/>
          <p:nvPr>
            <p:custDataLst>
              <p:tags r:id="rId6"/>
            </p:custDataLst>
          </p:nvPr>
        </p:nvSpPr>
        <p:spPr>
          <a:xfrm>
            <a:off x="271463" y="6726238"/>
            <a:ext cx="179387" cy="180975"/>
          </a:xfrm>
          <a:prstGeom prst="rect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>
                <a:solidFill>
                  <a:schemeClr val="tx1"/>
                </a:solidFill>
              </a:rPr>
              <a:t>4</a:t>
            </a:r>
          </a:p>
        </p:txBody>
      </p:sp>
      <p:pic>
        <p:nvPicPr>
          <p:cNvPr id="159015" name="Picture 197" descr="D:\Работа\первичные средства\первичные средства\DSC02452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2413000" y="1995488"/>
            <a:ext cx="1706563" cy="113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9016" name="Picture 203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2447925" y="5562600"/>
            <a:ext cx="1624013" cy="238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9018" name="Picture 204" descr="C:\Users\User\Desktop\DSC00354.JPG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2459038" y="3182938"/>
            <a:ext cx="170656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9019" name="Picture 206" descr="C:\Users\User\Desktop\DSC00355.JP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2432050" y="4321175"/>
            <a:ext cx="1704975" cy="1174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Стрелка вправо 7"/>
          <p:cNvSpPr/>
          <p:nvPr/>
        </p:nvSpPr>
        <p:spPr>
          <a:xfrm>
            <a:off x="1697038" y="4430713"/>
            <a:ext cx="979487" cy="187325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 err="1">
              <a:solidFill>
                <a:schemeClr val="tx1"/>
              </a:solidFill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1911350" y="5549900"/>
            <a:ext cx="977900" cy="19685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 err="1">
              <a:solidFill>
                <a:schemeClr val="tx1"/>
              </a:solidFill>
            </a:endParaRPr>
          </a:p>
        </p:txBody>
      </p:sp>
      <p:pic>
        <p:nvPicPr>
          <p:cNvPr id="159022" name="Picture 35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8"/>
          <a:srcRect/>
          <a:stretch>
            <a:fillRect/>
          </a:stretch>
        </p:blipFill>
        <p:spPr bwMode="auto">
          <a:xfrm>
            <a:off x="177800" y="987425"/>
            <a:ext cx="390525" cy="3190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59023" name="Прямоугольник 9"/>
          <p:cNvSpPr>
            <a:spLocks noChangeArrowheads="1"/>
          </p:cNvSpPr>
          <p:nvPr/>
        </p:nvSpPr>
        <p:spPr bwMode="auto">
          <a:xfrm>
            <a:off x="638175" y="985838"/>
            <a:ext cx="15589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800">
                <a:latin typeface="Calibri" pitchFamily="34" charset="0"/>
              </a:rPr>
              <a:t>Критический шаг, неукоснительное выполнение</a:t>
            </a:r>
          </a:p>
        </p:txBody>
      </p:sp>
      <p:pic>
        <p:nvPicPr>
          <p:cNvPr id="159024" name="Picture 4" descr="http://4vector.com/i/free-vector-high-tension-danger-clip-art_110931_High_Tension_Danger_clip_art_hight.pn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3"/>
          <a:srcRect/>
          <a:stretch>
            <a:fillRect/>
          </a:stretch>
        </p:blipFill>
        <p:spPr bwMode="auto">
          <a:xfrm>
            <a:off x="2039938" y="941388"/>
            <a:ext cx="417512" cy="323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59025" name="Прямоугольник 11"/>
          <p:cNvSpPr>
            <a:spLocks noChangeArrowheads="1"/>
          </p:cNvSpPr>
          <p:nvPr/>
        </p:nvSpPr>
        <p:spPr bwMode="auto">
          <a:xfrm>
            <a:off x="2438400" y="949325"/>
            <a:ext cx="188118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800">
                <a:latin typeface="Calibri" pitchFamily="34" charset="0"/>
              </a:rPr>
              <a:t>Внимание к технике безопасности и экологии</a:t>
            </a:r>
          </a:p>
        </p:txBody>
      </p:sp>
      <p:pic>
        <p:nvPicPr>
          <p:cNvPr id="159026" name="Picture 32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9"/>
          <a:srcRect/>
          <a:stretch>
            <a:fillRect/>
          </a:stretch>
        </p:blipFill>
        <p:spPr bwMode="auto">
          <a:xfrm>
            <a:off x="4114800" y="1044575"/>
            <a:ext cx="407988" cy="3206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59027" name="Прямоугольник 12"/>
          <p:cNvSpPr>
            <a:spLocks noChangeArrowheads="1"/>
          </p:cNvSpPr>
          <p:nvPr/>
        </p:nvSpPr>
        <p:spPr bwMode="auto">
          <a:xfrm>
            <a:off x="4579938" y="1066800"/>
            <a:ext cx="211296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800">
                <a:latin typeface="Calibri" pitchFamily="34" charset="0"/>
              </a:rPr>
              <a:t>Точность соблюдения требований НТД</a:t>
            </a:r>
          </a:p>
        </p:txBody>
      </p:sp>
      <p:pic>
        <p:nvPicPr>
          <p:cNvPr id="159028" name="Picture 32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/>
          <a:srcRect/>
          <a:stretch>
            <a:fillRect/>
          </a:stretch>
        </p:blipFill>
        <p:spPr bwMode="auto">
          <a:xfrm>
            <a:off x="5794375" y="2909888"/>
            <a:ext cx="407988" cy="3222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0" y="-50799"/>
            <a:ext cx="6858000" cy="85089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+mj-lt"/>
                <a:cs typeface="Pattaya" panose="00000500000000000000" pitchFamily="2" charset="-34"/>
              </a:rPr>
              <a:t>ПРИМЕНЕНИЕ УЛЕКИСЛОТНЫХ</a:t>
            </a:r>
          </a:p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+mj-lt"/>
                <a:cs typeface="Pattaya" panose="00000500000000000000" pitchFamily="2" charset="-34"/>
              </a:rPr>
              <a:t>ОГНЕТУШИТЕЛЕЙ</a:t>
            </a:r>
            <a:endParaRPr lang="en-US" sz="2400" b="1" dirty="0" err="1" smtClean="0">
              <a:solidFill>
                <a:schemeClr val="tx1"/>
              </a:solidFill>
              <a:latin typeface="+mj-lt"/>
              <a:cs typeface="Pattaya" panose="00000500000000000000" pitchFamily="2" charset="-34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85147" y="9363581"/>
            <a:ext cx="704562" cy="519545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rgbClr val="92D05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#d.%#m.%y&lt;/m_strFormatTime&gt;&lt;/m_precDefaultDate&gt;&lt;m_precDefaultYear&gt;&lt;m_strFormatTime&gt;%Y&lt;/m_strFormatTime&gt;&lt;/m_precDefaultYear&gt;&lt;m_precDefaultQuarter&gt;&lt;m_strFormatTime&gt;Q%5&lt;/m_strFormatTime&gt;&lt;/m_precDefaultQuarter&gt;&lt;m_precDefaultMonth&gt;&lt;m_strFormatTime&gt;%1&lt;/m_strFormatTime&gt;&lt;/m_precDefaultMonth&gt;&lt;m_precDefaultWeek&gt;&lt;m_strFormatTime&gt;%4&lt;/m_strFormatTime&gt;&lt;/m_precDefaultWeek&gt;&lt;m_precDefaultDay&gt;&lt;m_strFormatTime&gt;%#d&lt;/m_strFormatTime&gt;&lt;/m_precDefaultDay&gt;&lt;m_mruColor&gt;&lt;m_vecMRU length=&quot;1&quot;&gt;&lt;elem m_fUsage=&quot;1.89999999999999990000E+000&quot;&gt;&lt;m_ppcolschidx val=&quot;0&quot;/&gt;&lt;m_rgb r=&quot;0&quot; g=&quot;9f&quot; b=&quot;a9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tEe2VGa0mNWTZqowL3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nX1vgpSEeUh95VxeXn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s0fTFE20eVm2ChL7Pr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Xjzc0kWyAu9zfogX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PSWnBjmU6pbIPBNtYYq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051g_3dESBBLquHPjr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BnCpwN90CrH26itQwX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bPrO0_rESIWD4Eie2c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4zaaivcEaBiW.l0qliL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BHRIgap0qlmZBuCHRp_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Ljbshz3keQeJYn8GUT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wDLVVp1Ui5Z.iP5xDP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P0X_L7EaU1K4j1Cn1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P0X_L7EaU1K4j1Cn1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6qy.uRxE2TkBkZpqlq9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I_0h0R0UChuQejdwmjs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lOMAf.oUyqtfLZO2Dgw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UkVQVeIUevpV1ts45s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P0X_L7EaU1K4j1Cn1i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6qy.uRxE2TkBkZpqlq9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I_0h0R0UChuQejdwmjs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lOMAf.oUyqtfLZO2Dg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6qy.uRxE2TkBkZpqlq9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UkVQVeIUevpV1ts45sl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P0X_L7EaU1K4j1Cn1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6qy.uRxE2TkBkZpqlq9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I_0h0R0UChuQejdwmjs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lOMAf.oUyqtfLZO2Dgw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UkVQVeIUevpV1ts45s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I_0h0R0UChuQejdwmjs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P0X_L7EaU1K4j1Cn1i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6qy.uRxE2TkBkZpqlq9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I_0h0R0UChuQejdwmjs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lOMAf.oUyqtfLZO2Dgw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UkVQVeIUevpV1ts45sl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P0X_L7EaU1K4j1Cn1i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6qy.uRxE2TkBkZpqlq9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I_0h0R0UChuQejdwmj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lOMAf.oUyqtfLZO2Dgw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lOMAf.oUyqtfLZO2Dgw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UkVQVeIUevpV1ts45sl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P0X_L7EaU1K4j1Cn1i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6qy.uRxE2TkBkZpqlq9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I_0h0R0UChuQejdwmjs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lOMAf.oUyqtfLZO2Dgw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UkVQVeIUevpV1ts45s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TRX.EaRk.lU7OocrRnX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yN0F5MmEysfMcvdihtZ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HP0X_L7EaU1K4j1Cn1i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6qy.uRxE2TkBkZpqlq9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I_0h0R0UChuQejdwmjs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lOMAf.oUyqtfLZO2Dgw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UkVQVeIUevpV1ts45s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BnCpwN90CrH26itQwXV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SxglwQNk27LjZ1Gwqa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vQPqaICUaFWRGCmqut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6riJXkB0WbsnmfHfl_q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KkWeoil0CSJcp3Aq9g3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IN5hQQ5kaWFIufk2HIe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6rwcqQOUKfGVAv.OwVe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IN5hQQ5kaWFIufk2HIe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oXsgWBdUyR4U2mLXTt0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6rwcqQOUKfGVAv.OwVe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98MeKXf0md9Ro_._Ta0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98MeKXf0md9Ro_._Ta0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UkVQVeIUevpV1ts45slg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blank">
  <a:themeElements>
    <a:clrScheme name="Corporate Scheme">
      <a:dk1>
        <a:srgbClr val="3E3E3E"/>
      </a:dk1>
      <a:lt1>
        <a:sysClr val="window" lastClr="FFFFFF"/>
      </a:lt1>
      <a:dk2>
        <a:srgbClr val="7F7F7F"/>
      </a:dk2>
      <a:lt2>
        <a:srgbClr val="F8F8F8"/>
      </a:lt2>
      <a:accent1>
        <a:srgbClr val="FFDD00"/>
      </a:accent1>
      <a:accent2>
        <a:srgbClr val="F2F2F2"/>
      </a:accent2>
      <a:accent3>
        <a:srgbClr val="FF9900"/>
      </a:accent3>
      <a:accent4>
        <a:srgbClr val="FFC000"/>
      </a:accent4>
      <a:accent5>
        <a:srgbClr val="D9D9D9"/>
      </a:accent5>
      <a:accent6>
        <a:srgbClr val="BFBFBF"/>
      </a:accent6>
      <a:hlink>
        <a:srgbClr val="5F5F5F"/>
      </a:hlink>
      <a:folHlink>
        <a:srgbClr val="F2F2F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0000"/>
                <a:shade val="85000"/>
              </a:schemeClr>
              <a:schemeClr val="phClr">
                <a:tint val="95000"/>
                <a:shade val="99000"/>
              </a:schemeClr>
            </a:duotone>
          </a:blip>
          <a:tile tx="0" ty="0" sx="100000" sy="100000" flip="none" algn="tl"/>
        </a:blipFill>
        <a:blipFill rotWithShape="1">
          <a:blip xmlns:r="http://schemas.openxmlformats.org/officeDocument/2006/relationships" r:embed="rId2">
            <a:duotone>
              <a:schemeClr val="phClr">
                <a:tint val="93000"/>
                <a:shade val="85000"/>
              </a:schemeClr>
              <a:schemeClr val="phClr">
                <a:tint val="96000"/>
                <a:shade val="99000"/>
              </a:schemeClr>
            </a:duotone>
          </a:blip>
          <a:tile tx="0" ty="0" sx="90000" sy="90000" flip="none" algn="tl"/>
        </a:blip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6</Words>
  <Application>Microsoft Office PowerPoint</Application>
  <PresentationFormat>Лист A4 (210x297 мм)</PresentationFormat>
  <Paragraphs>37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8" baseType="lpstr">
      <vt:lpstr>Arial</vt:lpstr>
      <vt:lpstr>Calibri</vt:lpstr>
      <vt:lpstr>Pattaya</vt:lpstr>
      <vt:lpstr>Times New Roman</vt:lpstr>
      <vt:lpstr>Wingdings</vt:lpstr>
      <vt:lpstr>blank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/>
  <cp:lastModifiedBy/>
  <cp:revision>2</cp:revision>
  <dcterms:created xsi:type="dcterms:W3CDTF">2014-04-23T05:22:56Z</dcterms:created>
  <dcterms:modified xsi:type="dcterms:W3CDTF">2022-08-19T09:56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Name">
    <vt:lpwstr>A4</vt:lpwstr>
  </property>
  <property fmtid="{D5CDD505-2E9C-101B-9397-08002B2CF9AE}" pid="3" name="Format Name">
    <vt:lpwstr>DTEK-A4</vt:lpwstr>
  </property>
  <property fmtid="{D5CDD505-2E9C-101B-9397-08002B2CF9AE}" pid="4" name="ContentTypeId">
    <vt:lpwstr>0x0101006358666AA3F0FD4D943941C4FA8352AA</vt:lpwstr>
  </property>
</Properties>
</file>